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9.xml" ContentType="application/vnd.openxmlformats-officedocument.theme+xml"/>
  <Override PartName="/ppt/tags/tag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  <p:sldMasterId id="2147483730" r:id="rId2"/>
    <p:sldMasterId id="2147483716" r:id="rId3"/>
    <p:sldMasterId id="2147483708" r:id="rId4"/>
    <p:sldMasterId id="2147483711" r:id="rId5"/>
    <p:sldMasterId id="2147483742" r:id="rId6"/>
    <p:sldMasterId id="2147483755" r:id="rId7"/>
    <p:sldMasterId id="2147483782" r:id="rId8"/>
    <p:sldMasterId id="2147483858" r:id="rId9"/>
    <p:sldMasterId id="2147483876" r:id="rId10"/>
  </p:sldMasterIdLst>
  <p:notesMasterIdLst>
    <p:notesMasterId r:id="rId18"/>
  </p:notesMasterIdLst>
  <p:handoutMasterIdLst>
    <p:handoutMasterId r:id="rId19"/>
  </p:handoutMasterIdLst>
  <p:sldIdLst>
    <p:sldId id="260" r:id="rId11"/>
    <p:sldId id="601" r:id="rId12"/>
    <p:sldId id="602" r:id="rId13"/>
    <p:sldId id="270" r:id="rId14"/>
    <p:sldId id="604" r:id="rId15"/>
    <p:sldId id="300" r:id="rId16"/>
    <p:sldId id="605" r:id="rId17"/>
  </p:sldIdLst>
  <p:sldSz cx="9144000" cy="6858000" type="screen4x3"/>
  <p:notesSz cx="9872663" cy="67976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na Moore" initials="AM" lastIdx="14" clrIdx="0"/>
  <p:cmAuthor id="1" name="Steve Ryan" initials="SR" lastIdx="2" clrIdx="1">
    <p:extLst/>
  </p:cmAuthor>
  <p:cmAuthor id="2" name="Bethan Morris" initials="BM" lastIdx="2" clrIdx="2">
    <p:extLst>
      <p:ext uri="{19B8F6BF-5375-455C-9EA6-DF929625EA0E}">
        <p15:presenceInfo xmlns:p15="http://schemas.microsoft.com/office/powerpoint/2012/main" userId="S-1-12-1-2109070160-1084572223-2967031988-12786020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8B06"/>
    <a:srgbClr val="15759B"/>
    <a:srgbClr val="8F4DA9"/>
    <a:srgbClr val="A4D620"/>
    <a:srgbClr val="FDD5E4"/>
    <a:srgbClr val="000000"/>
    <a:srgbClr val="BD01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77" autoAdjust="0"/>
    <p:restoredTop sz="94434" autoAdjust="0"/>
  </p:normalViewPr>
  <p:slideViewPr>
    <p:cSldViewPr snapToGrid="0" snapToObjects="1">
      <p:cViewPr varScale="1">
        <p:scale>
          <a:sx n="74" d="100"/>
          <a:sy n="74" d="100"/>
        </p:scale>
        <p:origin x="148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02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171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3177" y="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23BCFB-9AA7-41BB-B1D7-2AB9D9AE1234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741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3177" y="645741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99518E-E254-43EF-9821-934A5474689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1519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5" y="0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91D2E-9552-C147-B7C4-5AE05C225CD4}" type="datetimeFigureOut">
              <a:rPr lang="en-US" smtClean="0"/>
              <a:t>4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36913" y="509588"/>
            <a:ext cx="3398837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3228896"/>
            <a:ext cx="789813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5" y="6456612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447537-647E-F34F-A9B5-2267D3F7007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63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2.jpe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gif"/><Relationship Id="rId4" Type="http://schemas.openxmlformats.org/officeDocument/2006/relationships/image" Target="../media/image1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gif"/><Relationship Id="rId4" Type="http://schemas.openxmlformats.org/officeDocument/2006/relationships/image" Target="../media/image1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gif"/><Relationship Id="rId4" Type="http://schemas.openxmlformats.org/officeDocument/2006/relationships/image" Target="../media/image1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gif"/><Relationship Id="rId4" Type="http://schemas.openxmlformats.org/officeDocument/2006/relationships/image" Target="../media/image16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gif"/><Relationship Id="rId4" Type="http://schemas.openxmlformats.org/officeDocument/2006/relationships/image" Target="../media/image1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png"/><Relationship Id="rId5" Type="http://schemas.openxmlformats.org/officeDocument/2006/relationships/image" Target="../media/image17.gif"/><Relationship Id="rId4" Type="http://schemas.openxmlformats.org/officeDocument/2006/relationships/image" Target="../media/image16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9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8.png"/><Relationship Id="rId4" Type="http://schemas.openxmlformats.org/officeDocument/2006/relationships/image" Target="../media/image17.gi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9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8.png"/><Relationship Id="rId4" Type="http://schemas.openxmlformats.org/officeDocument/2006/relationships/image" Target="../media/image17.gi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8.png"/><Relationship Id="rId4" Type="http://schemas.openxmlformats.org/officeDocument/2006/relationships/image" Target="../media/image17.gi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4" Type="http://schemas.openxmlformats.org/officeDocument/2006/relationships/image" Target="../media/image2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.xml"/><Relationship Id="rId4" Type="http://schemas.openxmlformats.org/officeDocument/2006/relationships/image" Target="../media/image2.jpe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.xml"/><Relationship Id="rId4" Type="http://schemas.openxmlformats.org/officeDocument/2006/relationships/image" Target="../media/image2.jpe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281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56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7149" y="1844831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6392063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330533-0D7A-4897-B7C7-2932F25257A0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FA906D-2524-4DBB-AA9C-DFB7468C0309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751860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A6B6DF-6ED8-41F8-814C-8DAF9AF98164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5BBC71-39B9-4A61-A60B-4B5D2839341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994178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48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4406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2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65233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8158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44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44" y="2505076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6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0235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2480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8097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2800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0888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 baseline="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600"/>
            </a:lvl4pPr>
            <a:lvl5pPr>
              <a:buClr>
                <a:srgbClr val="A4D620"/>
              </a:buClr>
              <a:defRPr sz="16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152442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73512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6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1122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35105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 baseline="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600"/>
            </a:lvl4pPr>
            <a:lvl5pPr>
              <a:buClr>
                <a:srgbClr val="A4D620"/>
              </a:buClr>
              <a:defRPr sz="16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2883634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231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5" y="1198800"/>
            <a:ext cx="4129088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198800"/>
            <a:ext cx="4129087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12468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400"/>
            </a:lvl4pPr>
            <a:lvl5pPr>
              <a:buClr>
                <a:srgbClr val="A4D620"/>
              </a:buClr>
              <a:defRPr sz="14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65913" y="3177712"/>
            <a:ext cx="3740710" cy="2581648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FontTx/>
              <a:buNone/>
              <a:defRPr sz="28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225662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4955" y="1125539"/>
            <a:ext cx="8548220" cy="4512796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521849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30" y="1124745"/>
            <a:ext cx="8641655" cy="4608512"/>
          </a:xfrm>
          <a:prstGeom prst="rect">
            <a:avLst/>
          </a:prstGeom>
        </p:spPr>
        <p:txBody>
          <a:bodyPr/>
          <a:lstStyle>
            <a:lvl1pPr>
              <a:defRPr sz="30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5531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EFACA269-9148-405F-86A2-ED7573B9B5C6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DC25EE48-E841-457A-9275-CE7AD3BD4C4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258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986312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1"/>
            <a:ext cx="9155596" cy="10523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8" y="266146"/>
            <a:ext cx="1430533" cy="4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4398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12" y="0"/>
            <a:ext cx="5236484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32" y="5589243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75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32" y="6093298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375427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56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7149" y="1844831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8314972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don buses –Whitecha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0"/>
            <a:ext cx="6257925" cy="68580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26" y="5589243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63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26" y="6093298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959057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0"/>
            <a:ext cx="6257925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26" y="5589243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63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26" y="6093298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354647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CLPartners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997148" y="1844825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UCLPartners</a:t>
            </a:r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3rd Floor</a:t>
            </a:r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170 Tottenham Court Road</a:t>
            </a:r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London W1T 7HA</a:t>
            </a:r>
          </a:p>
          <a:p>
            <a:r>
              <a:rPr lang="en-GB" sz="1600" dirty="0">
                <a:solidFill>
                  <a:srgbClr val="006298"/>
                </a:solidFill>
              </a:rPr>
              <a:t/>
            </a:r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020 7679 6633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7227234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49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997148" y="1844825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41718969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CAC527D-1056-40EF-ABA6-A5F792600C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sp>
        <p:nvSpPr>
          <p:cNvPr id="3" name="Title Placeholder 6">
            <a:extLst>
              <a:ext uri="{FF2B5EF4-FFF2-40B4-BE49-F238E27FC236}">
                <a16:creationId xmlns:a16="http://schemas.microsoft.com/office/drawing/2014/main" xmlns="" id="{FEA9BDF4-F6E7-4238-A012-6A865C591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035638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24D63809-99A7-49B1-9FA9-45DBA8BE91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05516"/>
            <a:ext cx="7886700" cy="4571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3D604967-4F24-4047-ADC3-B35192AC9E5B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9959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 baseline="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600"/>
            </a:lvl4pPr>
            <a:lvl5pPr>
              <a:buClr>
                <a:srgbClr val="A4D620"/>
              </a:buClr>
              <a:defRPr sz="16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5E3B6B2F-9CB4-46AD-BE6B-50D17114994F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B1AF102D-656C-4B57-9485-9C7B9FFCDC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pic>
        <p:nvPicPr>
          <p:cNvPr id="10" name="Picture 2" descr="Anna Freud Centre - Caring for young minds">
            <a:extLst>
              <a:ext uri="{FF2B5EF4-FFF2-40B4-BE49-F238E27FC236}">
                <a16:creationId xmlns:a16="http://schemas.microsoft.com/office/drawing/2014/main" xmlns="" id="{75B27462-2576-45E0-9535-478B5043B0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449D013-D14F-4A6F-B06C-BDDF9E4250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3" name="Picture 12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CB74E52B-112D-47CA-A914-E9C7AC91AB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D03171B7-AB9B-4FB2-81AB-E9A4824296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4069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40BFA642-1E3E-4FA0-BD26-5796840F1DF0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26229AA5-D8ED-4B12-B450-1D3A0FAF0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pic>
        <p:nvPicPr>
          <p:cNvPr id="11" name="Picture 2" descr="Anna Freud Centre - Caring for young minds">
            <a:extLst>
              <a:ext uri="{FF2B5EF4-FFF2-40B4-BE49-F238E27FC236}">
                <a16:creationId xmlns:a16="http://schemas.microsoft.com/office/drawing/2014/main" xmlns="" id="{9A52DE37-E18A-43F8-85A0-196F4DDE78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E4C17000-C695-4E7D-BB13-B19BE0F959C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3" name="Picture 12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A33CC6CE-71E5-4E51-BC8E-3A5076EC280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50B7FF3F-8689-4053-A5CF-C6625FDB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3700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5" y="1198800"/>
            <a:ext cx="4129088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198800"/>
            <a:ext cx="4129087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40130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5" y="1198800"/>
            <a:ext cx="4129088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198800"/>
            <a:ext cx="4129087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AFE411FF-E4BB-4E27-A2AC-982EA8B4F573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8EF46F1-946D-4AC0-A01D-78C5F9A02D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pic>
        <p:nvPicPr>
          <p:cNvPr id="17" name="Picture 2" descr="Anna Freud Centre - Caring for young minds">
            <a:extLst>
              <a:ext uri="{FF2B5EF4-FFF2-40B4-BE49-F238E27FC236}">
                <a16:creationId xmlns:a16="http://schemas.microsoft.com/office/drawing/2014/main" xmlns="" id="{6528FB7C-B482-47F8-BE82-023A6528FD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7C06ACAE-7DFF-4DD2-BF74-D226C88DCE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9" name="Picture 18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467214A1-7138-464E-8278-E9D77584FF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5771BBE1-7E6C-495A-9DFA-18798A3F1A9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32753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400"/>
            </a:lvl4pPr>
            <a:lvl5pPr>
              <a:buClr>
                <a:srgbClr val="A4D620"/>
              </a:buClr>
              <a:defRPr sz="14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65913" y="3177712"/>
            <a:ext cx="3740710" cy="2581648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FontTx/>
              <a:buNone/>
              <a:defRPr sz="28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2E867531-98B3-4A65-BC0E-F30420DD6F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pic>
        <p:nvPicPr>
          <p:cNvPr id="16" name="Picture 2" descr="Anna Freud Centre - Caring for young minds">
            <a:extLst>
              <a:ext uri="{FF2B5EF4-FFF2-40B4-BE49-F238E27FC236}">
                <a16:creationId xmlns:a16="http://schemas.microsoft.com/office/drawing/2014/main" xmlns="" id="{B36BC568-67CC-467E-BDCE-7900439C74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580B2F0E-1D40-4E8E-A417-0BF11BC3C5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8" name="Picture 17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2CA33796-D09F-429D-BDC7-D380FB7506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BAA3E51F-5F36-47D1-B114-538DDFD4C7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xmlns="" id="{BFEF1DE7-519E-41B2-B25F-95EB45D16FAF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2634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4955" y="1125539"/>
            <a:ext cx="8548220" cy="4512796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0246F252-9757-4372-A4D5-586B75A8C0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pic>
        <p:nvPicPr>
          <p:cNvPr id="16" name="Picture 2" descr="Anna Freud Centre - Caring for young minds">
            <a:extLst>
              <a:ext uri="{FF2B5EF4-FFF2-40B4-BE49-F238E27FC236}">
                <a16:creationId xmlns:a16="http://schemas.microsoft.com/office/drawing/2014/main" xmlns="" id="{E277CCED-88C3-4975-AE82-1BE714737B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4099ECE9-C7FC-44E5-9DCD-ED2ABEC42A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8" name="Picture 17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C201E990-5A91-4A03-99B0-16559917D4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5D9629A1-2338-4E81-ABE4-2D8044ED38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xmlns="" id="{606FBCAC-161D-4D03-B437-098C1D323E14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53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30" y="1124745"/>
            <a:ext cx="8641655" cy="46085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0729859-B096-4BE5-9E00-7B41A59FB3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pic>
        <p:nvPicPr>
          <p:cNvPr id="11" name="Picture 2" descr="Anna Freud Centre - Caring for young minds">
            <a:extLst>
              <a:ext uri="{FF2B5EF4-FFF2-40B4-BE49-F238E27FC236}">
                <a16:creationId xmlns:a16="http://schemas.microsoft.com/office/drawing/2014/main" xmlns="" id="{961A5030-F75D-4190-8D76-AB906616B9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DC6B37D0-9CDD-45C4-9DAF-D995B675F3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3" name="Picture 12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B3DA26F8-E1CE-45C3-ACB9-12C405AEA6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6474AA59-AFB5-489D-86DD-DD60358118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xmlns="" id="{0E62ACA2-E524-4DCE-89A3-34879DC32798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0605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03887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 sz="40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44929"/>
            <a:ext cx="6400800" cy="66621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pic>
        <p:nvPicPr>
          <p:cNvPr id="8" name="Picture 2" descr="Anna Freud Centre - Caring for young minds">
            <a:extLst>
              <a:ext uri="{FF2B5EF4-FFF2-40B4-BE49-F238E27FC236}">
                <a16:creationId xmlns:a16="http://schemas.microsoft.com/office/drawing/2014/main" xmlns="" id="{71D5C0F9-CDE1-4E41-B1BD-15BDEF7DA4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536AC9D-63D4-4BAB-8169-F9E4614892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0" name="Picture 9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1571A0CA-0ED4-41EF-8A18-A033464AF8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21B725B6-41F9-472C-A0F4-8479B53A62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475CCBE6-FB74-4C7E-8975-F7034EF319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xmlns="" id="{F2D1FB74-BC39-47FE-A8B5-7472373575FC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EF9FCE6-6BF9-4FE5-8B57-C4E6AECE209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9633" y="4620712"/>
            <a:ext cx="3679571" cy="154082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B1990D2-C541-45AF-866A-D0EB3AE25B78}"/>
              </a:ext>
            </a:extLst>
          </p:cNvPr>
          <p:cNvSpPr/>
          <p:nvPr userDrawn="1"/>
        </p:nvSpPr>
        <p:spPr>
          <a:xfrm>
            <a:off x="1784459" y="4011148"/>
            <a:ext cx="55750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dirty="0">
                <a:solidFill>
                  <a:srgbClr val="F32F79"/>
                </a:solidFill>
              </a:rPr>
              <a:t>“If we keep on doing what we have been doing, we are going to keep on getting what we have been getting”</a:t>
            </a:r>
          </a:p>
        </p:txBody>
      </p:sp>
    </p:spTree>
    <p:extLst>
      <p:ext uri="{BB962C8B-B14F-4D97-AF65-F5344CB8AC3E}">
        <p14:creationId xmlns:p14="http://schemas.microsoft.com/office/powerpoint/2010/main" val="6620338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03887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 sz="40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44929"/>
            <a:ext cx="6400800" cy="66621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pic>
        <p:nvPicPr>
          <p:cNvPr id="8" name="Picture 2" descr="Anna Freud Centre - Caring for young minds">
            <a:extLst>
              <a:ext uri="{FF2B5EF4-FFF2-40B4-BE49-F238E27FC236}">
                <a16:creationId xmlns:a16="http://schemas.microsoft.com/office/drawing/2014/main" xmlns="" id="{71D5C0F9-CDE1-4E41-B1BD-15BDEF7DA4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536AC9D-63D4-4BAB-8169-F9E4614892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0" name="Picture 9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1571A0CA-0ED4-41EF-8A18-A033464AF8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21B725B6-41F9-472C-A0F4-8479B53A62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475CCBE6-FB74-4C7E-8975-F7034EF319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xmlns="" id="{F2D1FB74-BC39-47FE-A8B5-7472373575FC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EF9FCE6-6BF9-4FE5-8B57-C4E6AECE209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9633" y="4620712"/>
            <a:ext cx="3679571" cy="154082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1B1990D2-C541-45AF-866A-D0EB3AE25B78}"/>
              </a:ext>
            </a:extLst>
          </p:cNvPr>
          <p:cNvSpPr/>
          <p:nvPr userDrawn="1"/>
        </p:nvSpPr>
        <p:spPr>
          <a:xfrm>
            <a:off x="1784459" y="4011148"/>
            <a:ext cx="55750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dirty="0">
                <a:solidFill>
                  <a:srgbClr val="F32F79"/>
                </a:solidFill>
              </a:rPr>
              <a:t>The THRIVE Framework, in the words of Benjamin Zander is:</a:t>
            </a:r>
          </a:p>
          <a:p>
            <a:pPr algn="ctr"/>
            <a:r>
              <a:rPr lang="en-US" sz="1600" i="1" dirty="0">
                <a:solidFill>
                  <a:srgbClr val="F32F79"/>
                </a:solidFill>
              </a:rPr>
              <a:t> “A possibility to live into”</a:t>
            </a:r>
          </a:p>
        </p:txBody>
      </p:sp>
    </p:spTree>
    <p:extLst>
      <p:ext uri="{BB962C8B-B14F-4D97-AF65-F5344CB8AC3E}">
        <p14:creationId xmlns:p14="http://schemas.microsoft.com/office/powerpoint/2010/main" val="12424099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03887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 sz="40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44929"/>
            <a:ext cx="6400800" cy="66621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pic>
        <p:nvPicPr>
          <p:cNvPr id="8" name="Picture 2" descr="Anna Freud Centre - Caring for young minds">
            <a:extLst>
              <a:ext uri="{FF2B5EF4-FFF2-40B4-BE49-F238E27FC236}">
                <a16:creationId xmlns:a16="http://schemas.microsoft.com/office/drawing/2014/main" xmlns="" id="{71D5C0F9-CDE1-4E41-B1BD-15BDEF7DA4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536AC9D-63D4-4BAB-8169-F9E4614892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0" name="Picture 9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1571A0CA-0ED4-41EF-8A18-A033464AF8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21B725B6-41F9-472C-A0F4-8479B53A62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475CCBE6-FB74-4C7E-8975-F7034EF319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xmlns="" id="{F2D1FB74-BC39-47FE-A8B5-7472373575FC}"/>
              </a:ext>
            </a:extLst>
          </p:cNvPr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5067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1"/>
            <a:ext cx="9155596" cy="10523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8" y="266146"/>
            <a:ext cx="1430533" cy="4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3973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12" y="0"/>
            <a:ext cx="5236484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32" y="5589243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75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32" y="6093298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299550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56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7149" y="1844831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928218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400"/>
            </a:lvl4pPr>
            <a:lvl5pPr>
              <a:buClr>
                <a:srgbClr val="A4D620"/>
              </a:buClr>
              <a:defRPr sz="14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65913" y="3177712"/>
            <a:ext cx="3740710" cy="2581648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FontTx/>
              <a:buNone/>
              <a:defRPr sz="28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705956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16893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820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 baseline="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600"/>
            </a:lvl4pPr>
            <a:lvl5pPr>
              <a:buClr>
                <a:srgbClr val="A4D620"/>
              </a:buClr>
              <a:defRPr sz="16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42747531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88518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5" y="1198800"/>
            <a:ext cx="4129088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198800"/>
            <a:ext cx="4129087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84906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400"/>
            </a:lvl4pPr>
            <a:lvl5pPr>
              <a:buClr>
                <a:srgbClr val="A4D620"/>
              </a:buClr>
              <a:defRPr sz="14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65913" y="3177712"/>
            <a:ext cx="3740710" cy="2581648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FontTx/>
              <a:buNone/>
              <a:defRPr sz="28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3209392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4955" y="1125539"/>
            <a:ext cx="8548220" cy="4512796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2030371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30" y="1124745"/>
            <a:ext cx="8641655" cy="4608512"/>
          </a:xfrm>
          <a:prstGeom prst="rect">
            <a:avLst/>
          </a:prstGeom>
        </p:spPr>
        <p:txBody>
          <a:bodyPr/>
          <a:lstStyle>
            <a:lvl1pPr>
              <a:defRPr sz="30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074823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EFACA269-9148-405F-86A2-ED7573B9B5C6}" type="datetimeFigureOut">
              <a:rPr lang="en-GB" smtClean="0">
                <a:solidFill>
                  <a:prstClr val="black"/>
                </a:solidFill>
              </a:rPr>
              <a:pPr/>
              <a:t>25/04/2019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DC25EE48-E841-457A-9275-CE7AD3BD4C4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9682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1"/>
            <a:ext cx="9155596" cy="10523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8" y="266146"/>
            <a:ext cx="1430533" cy="4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6050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4955" y="1125539"/>
            <a:ext cx="8548220" cy="4512796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033017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12" y="0"/>
            <a:ext cx="5236484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32" y="5589243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75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32" y="6093298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152673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56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7149" y="1844831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21820649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30992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85593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 baseline="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600"/>
            </a:lvl4pPr>
            <a:lvl5pPr>
              <a:buClr>
                <a:srgbClr val="A4D620"/>
              </a:buClr>
              <a:defRPr sz="16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40100469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63388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5" y="1198800"/>
            <a:ext cx="4129088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198800"/>
            <a:ext cx="4129087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718893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400"/>
            </a:lvl4pPr>
            <a:lvl5pPr>
              <a:buClr>
                <a:srgbClr val="A4D620"/>
              </a:buClr>
              <a:defRPr sz="14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65913" y="3177712"/>
            <a:ext cx="3740710" cy="2581648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FontTx/>
              <a:buNone/>
              <a:defRPr sz="28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930944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4955" y="1125539"/>
            <a:ext cx="8548220" cy="4512796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50165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30" y="1124745"/>
            <a:ext cx="8641655" cy="4608512"/>
          </a:xfrm>
          <a:prstGeom prst="rect">
            <a:avLst/>
          </a:prstGeom>
        </p:spPr>
        <p:txBody>
          <a:bodyPr/>
          <a:lstStyle>
            <a:lvl1pPr>
              <a:defRPr sz="30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62396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30" y="1124745"/>
            <a:ext cx="8641655" cy="4608512"/>
          </a:xfrm>
          <a:prstGeom prst="rect">
            <a:avLst/>
          </a:prstGeom>
        </p:spPr>
        <p:txBody>
          <a:bodyPr/>
          <a:lstStyle>
            <a:lvl1pPr>
              <a:defRPr sz="30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31" y="260354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08331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1"/>
            <a:ext cx="9155596" cy="10523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8" y="266146"/>
            <a:ext cx="1430533" cy="4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7239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12" y="0"/>
            <a:ext cx="5236484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32" y="5589243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75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32" y="6093298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170859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56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7149" y="1844831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37358892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7D72B024-F279-4DBC-B0F3-BFBA2A870837}" type="datetimeFigureOut">
              <a:rPr lang="en-GB" smtClean="0">
                <a:solidFill>
                  <a:prstClr val="black"/>
                </a:solidFill>
              </a:rPr>
              <a:pPr/>
              <a:t>25/04/2019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BDAE7B0A-4661-47FE-9BA3-D3F1F151E06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0842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78563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 baseline="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600"/>
            </a:lvl4pPr>
            <a:lvl5pPr>
              <a:buClr>
                <a:srgbClr val="A4D620"/>
              </a:buClr>
              <a:defRPr sz="16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36556153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02178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5" y="1198800"/>
            <a:ext cx="4129088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198800"/>
            <a:ext cx="4129087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618523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400"/>
            </a:lvl4pPr>
            <a:lvl5pPr>
              <a:buClr>
                <a:srgbClr val="A4D620"/>
              </a:buClr>
              <a:defRPr sz="14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65913" y="3177709"/>
            <a:ext cx="3740710" cy="2581648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FontTx/>
              <a:buNone/>
              <a:defRPr sz="2800" baseline="0"/>
            </a:lvl1pPr>
          </a:lstStyle>
          <a:p>
            <a:r>
              <a:rPr lang="en-GB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69680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4955" y="1125538"/>
            <a:ext cx="8548220" cy="4512796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GB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1612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553200" y="6356354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1"/>
            <a:ext cx="9155596" cy="10523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8" y="266146"/>
            <a:ext cx="1430533" cy="4535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4" y="1124744"/>
            <a:ext cx="8641655" cy="4608512"/>
          </a:xfrm>
          <a:prstGeom prst="rect">
            <a:avLst/>
          </a:prstGeom>
        </p:spPr>
        <p:txBody>
          <a:bodyPr/>
          <a:lstStyle>
            <a:lvl1pPr>
              <a:defRPr sz="30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27845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01237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‹#›</a:t>
            </a:fld>
            <a:endParaRPr lang="en-GB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1"/>
            <a:ext cx="9155596" cy="10523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2" y="266146"/>
            <a:ext cx="1430533" cy="4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9018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12" y="0"/>
            <a:ext cx="5236484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26" y="5589240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72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26" y="6093296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616700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50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7149" y="1844828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  <a:cs typeface="Arial"/>
                <a:sym typeface="Arial"/>
                <a:rtl val="0"/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  <a:cs typeface="Arial"/>
              <a:sym typeface="Arial"/>
              <a:rtl val="0"/>
            </a:endParaRPr>
          </a:p>
          <a:p>
            <a:endParaRPr lang="en-GB" sz="1600" dirty="0">
              <a:solidFill>
                <a:srgbClr val="006298"/>
              </a:solidFill>
              <a:cs typeface="Arial"/>
              <a:sym typeface="Arial"/>
              <a:rtl val="0"/>
            </a:endParaRPr>
          </a:p>
          <a:p>
            <a:endParaRPr lang="en-GB" sz="1600" dirty="0">
              <a:solidFill>
                <a:srgbClr val="006298"/>
              </a:solidFill>
              <a:cs typeface="Arial"/>
              <a:sym typeface="Arial"/>
              <a:rtl val="0"/>
            </a:endParaRPr>
          </a:p>
          <a:p>
            <a:endParaRPr lang="en-GB" sz="1600" dirty="0">
              <a:solidFill>
                <a:srgbClr val="006298"/>
              </a:solidFill>
              <a:cs typeface="Arial"/>
              <a:sym typeface="Arial"/>
              <a:rtl val="0"/>
            </a:endParaRPr>
          </a:p>
          <a:p>
            <a:endParaRPr lang="en-GB" sz="1600" dirty="0">
              <a:solidFill>
                <a:srgbClr val="006298"/>
              </a:solidFill>
              <a:cs typeface="Arial"/>
              <a:sym typeface="Arial"/>
              <a:rtl val="0"/>
            </a:endParaRPr>
          </a:p>
          <a:p>
            <a:endParaRPr lang="en-GB" sz="1600" dirty="0">
              <a:solidFill>
                <a:srgbClr val="006298"/>
              </a:solidFill>
              <a:cs typeface="Arial"/>
              <a:sym typeface="Arial"/>
              <a:rtl val="0"/>
            </a:endParaRPr>
          </a:p>
          <a:p>
            <a:r>
              <a:rPr lang="en-GB" sz="1600" dirty="0">
                <a:solidFill>
                  <a:srgbClr val="006298"/>
                </a:solidFill>
                <a:cs typeface="Arial"/>
                <a:sym typeface="Arial"/>
                <a:rtl val="0"/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  <a:cs typeface="Arial"/>
                <a:sym typeface="Arial"/>
                <a:rtl val="0"/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  <a:cs typeface="Arial"/>
                <a:sym typeface="Arial"/>
                <a:rtl val="0"/>
              </a:rPr>
              <a:t>@</a:t>
            </a:r>
            <a:r>
              <a:rPr lang="en-GB" sz="1600" dirty="0" err="1">
                <a:solidFill>
                  <a:srgbClr val="006298"/>
                </a:solidFill>
                <a:cs typeface="Arial"/>
                <a:sym typeface="Arial"/>
                <a:rtl val="0"/>
              </a:rPr>
              <a:t>uclpartners</a:t>
            </a:r>
            <a:endParaRPr lang="en-GB" sz="1600" dirty="0">
              <a:solidFill>
                <a:srgbClr val="006298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130256083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00344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5C4F117-BCBE-4739-8951-C307959316CD}" type="datetimeFigureOut">
              <a:rPr lang="en-GB" smtClea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25/04/2019</a:t>
            </a:fld>
            <a:endParaRPr lang="en-GB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1509F2-1C1E-48B2-8CBB-30C6BE9D3441}" type="slidenum">
              <a:rPr lang="en-GB" smtClean="0">
                <a:solidFill>
                  <a:prstClr val="black"/>
                </a:solidFill>
                <a:cs typeface="Arial"/>
                <a:sym typeface="Arial"/>
                <a:rtl val="0"/>
              </a:rPr>
              <a:pPr/>
              <a:t>‹#›</a:t>
            </a:fld>
            <a:endParaRPr lang="en-GB">
              <a:solidFill>
                <a:prstClr val="black"/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736566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55199392-1B58-4B96-9831-EE62AEC5A909}" type="datetimeFigureOut">
              <a:rPr lang="en-GB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  <a:rtl val="0"/>
              </a:rPr>
              <a:pPr/>
              <a:t>25/04/2019</a:t>
            </a:fld>
            <a:endParaRPr lang="en-GB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4A123C33-9BF1-4C54-B051-BD410BEDCFE2}" type="slidenum">
              <a:rPr lang="en-GB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  <a:rtl val="0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96974450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55199392-1B58-4B96-9831-EE62AEC5A909}" type="datetimeFigureOut">
              <a:rPr lang="en-GB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  <a:rtl val="0"/>
              </a:rPr>
              <a:pPr/>
              <a:t>25/04/2019</a:t>
            </a:fld>
            <a:endParaRPr lang="en-GB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4A123C33-9BF1-4C54-B051-BD410BEDCFE2}" type="slidenum">
              <a:rPr lang="en-GB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  <a:rtl val="0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cs typeface="Arial"/>
              <a:sym typeface="Arial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277439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0"/>
          </p:nvPr>
        </p:nvSpPr>
        <p:spPr>
          <a:xfrm>
            <a:off x="539750" y="1773238"/>
            <a:ext cx="8208963" cy="259238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841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12" y="0"/>
            <a:ext cx="5236484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32" y="5589243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75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32" y="6093298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984091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597573" y="1722318"/>
            <a:ext cx="4280492" cy="114500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597573" y="3136736"/>
            <a:ext cx="4280492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  <a:latin typeface="+mn-lt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57813" y="490643"/>
            <a:ext cx="8467909" cy="1588"/>
          </a:xfrm>
          <a:prstGeom prst="line">
            <a:avLst/>
          </a:prstGeom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280512" y="202720"/>
            <a:ext cx="409270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  <a:cs typeface="Verdana"/>
                <a:sym typeface="Arial"/>
                <a:rtl val="0"/>
              </a:rPr>
              <a:t>Anna Freud National Centre for Children and Families</a:t>
            </a:r>
          </a:p>
        </p:txBody>
      </p:sp>
      <p:pic>
        <p:nvPicPr>
          <p:cNvPr id="9" name="Picture 8" descr="AF-logo-RGB-Green+Whit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7813" y="5868612"/>
            <a:ext cx="2782899" cy="631173"/>
          </a:xfrm>
          <a:prstGeom prst="rect">
            <a:avLst/>
          </a:prstGeom>
        </p:spPr>
      </p:pic>
      <p:sp>
        <p:nvSpPr>
          <p:cNvPr id="10" name="Content Placeholder 12"/>
          <p:cNvSpPr>
            <a:spLocks noGrp="1"/>
          </p:cNvSpPr>
          <p:nvPr userDrawn="1">
            <p:ph sz="quarter" idx="11" hasCustomPrompt="1"/>
          </p:nvPr>
        </p:nvSpPr>
        <p:spPr>
          <a:xfrm>
            <a:off x="4597573" y="1300163"/>
            <a:ext cx="3385026" cy="36512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defRPr sz="1200">
                <a:latin typeface="+mn-lt"/>
                <a:cs typeface="Verdana"/>
              </a:defRPr>
            </a:lvl1pPr>
          </a:lstStyle>
          <a:p>
            <a:pPr lvl="0"/>
            <a:r>
              <a:rPr lang="en-GB" dirty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656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52AC1E-AEE0-42CE-AF2B-FFBBE0397514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03566E7-9CAF-4968-BB8F-192E071EB108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630247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5B9C6-4B8A-4D7F-86D9-EA9BAC058065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129BFE-5482-4543-9B2E-EB177A87FA44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909332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EB2A1-E881-46A5-B960-A5F318835AC2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B5F595-1E51-4635-886D-BC92DFD4EAB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697063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54553-2998-421B-BDF0-4A0E2116052A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53C71D-1AA5-4DB8-84B0-10DD18ED5E10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7265424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5AB319-235C-43D9-9026-59CA1A69734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432B1C-3FE8-406E-8BFD-A3F443390965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0402478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C8E80B-D5BE-4FE7-ACC6-8A1B5F03736D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85A5F8-EE80-4A44-A72B-139B06EB674C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6604355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86AC8C-CC5F-4682-BE15-9569D6B1492A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894D74-4D03-404B-B371-D61C9D182685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556738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604F6B-EA16-49D2-91AE-4943161ED7FA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EA385D-8775-4C84-BFC9-BE2D1555D9B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583672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923CB8-5809-4FDF-AA90-00B194C36276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A05F19-AB2D-4171-BE7C-727AA947AC1D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704857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4.png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1.png"/><Relationship Id="rId4" Type="http://schemas.openxmlformats.org/officeDocument/2006/relationships/image" Target="../media/image1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17.gif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7.xml"/><Relationship Id="rId18" Type="http://schemas.openxmlformats.org/officeDocument/2006/relationships/image" Target="../media/image20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52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8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76.xml"/><Relationship Id="rId21" Type="http://schemas.openxmlformats.org/officeDocument/2006/relationships/image" Target="../media/image16.png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image" Target="../media/image22.png"/><Relationship Id="rId10" Type="http://schemas.openxmlformats.org/officeDocument/2006/relationships/slideLayout" Target="../slideLayouts/slideLayout83.xml"/><Relationship Id="rId19" Type="http://schemas.openxmlformats.org/officeDocument/2006/relationships/image" Target="../media/image21.jpeg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image" Target="../media/image17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7456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660" r:id="rId8"/>
    <p:sldLayoutId id="2147483714" r:id="rId9"/>
    <p:sldLayoutId id="2147483715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Master title style</a:t>
            </a:r>
            <a:endParaRPr lang="en-GB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196975"/>
            <a:ext cx="8229600" cy="492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27099C1-650A-4F95-A037-C5F25C5D74DA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/04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35255D2-C45B-4285-87C8-BAF754135997}" type="slidenum">
              <a:rPr lang="en-GB" altLang="en-US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en-US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0700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 kern="1200">
          <a:solidFill>
            <a:srgbClr val="781D7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rgbClr val="781D7D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A4D620"/>
        </a:buClr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A4D620"/>
        </a:buClr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A4D620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A4D620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A4D620"/>
        </a:buClr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848907-1966-4A26-AC64-AAACD4B8710E}" type="datetimeFigureOut">
              <a:rPr lang="en-GB" smtClean="0"/>
              <a:t>25/04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4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016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3">
            <a:alphaModFix amt="40000"/>
          </a:blip>
          <a:stretch>
            <a:fillRect/>
          </a:stretch>
        </p:blipFill>
        <p:spPr>
          <a:xfrm>
            <a:off x="5521855" y="6296536"/>
            <a:ext cx="1183640" cy="51816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7939558" y="36986"/>
            <a:ext cx="1204442" cy="865692"/>
            <a:chOff x="5523697" y="36987"/>
            <a:chExt cx="3620303" cy="2734270"/>
          </a:xfrm>
        </p:grpSpPr>
        <p:pic>
          <p:nvPicPr>
            <p:cNvPr id="2" name="Picture 1"/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23697" y="36987"/>
              <a:ext cx="3620303" cy="2734270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 userDrawn="1"/>
          </p:nvSpPr>
          <p:spPr>
            <a:xfrm>
              <a:off x="8299191" y="2707267"/>
              <a:ext cx="802353" cy="639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5">
            <a:alphaModFix amt="40000"/>
          </a:blip>
          <a:stretch>
            <a:fillRect/>
          </a:stretch>
        </p:blipFill>
        <p:spPr>
          <a:xfrm>
            <a:off x="3568755" y="6406553"/>
            <a:ext cx="1914525" cy="3714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2890" y="6327899"/>
            <a:ext cx="1128105" cy="4518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9817" y="6480026"/>
            <a:ext cx="1984268" cy="32087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8">
            <a:alphaModFix amt="40000"/>
          </a:blip>
          <a:stretch>
            <a:fillRect/>
          </a:stretch>
        </p:blipFill>
        <p:spPr>
          <a:xfrm>
            <a:off x="7939558" y="6322583"/>
            <a:ext cx="1181046" cy="42430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9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8" y="6325053"/>
            <a:ext cx="1546322" cy="536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97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9" y="323405"/>
            <a:ext cx="1430529" cy="450895"/>
          </a:xfrm>
          <a:prstGeom prst="rect">
            <a:avLst/>
          </a:prstGeom>
        </p:spPr>
      </p:pic>
      <p:sp>
        <p:nvSpPr>
          <p:cNvPr id="3" name="Slide Number Placeholder 3"/>
          <p:cNvSpPr txBox="1">
            <a:spLocks/>
          </p:cNvSpPr>
          <p:nvPr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7807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38" y="-15974"/>
            <a:ext cx="591779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9" y="323405"/>
            <a:ext cx="1430529" cy="450895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7414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4830ADF-F119-40EB-A6EF-0467345657F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288" y="111111"/>
            <a:ext cx="1392168" cy="1392168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25F45E50-9F0A-4A6F-AB69-D16F4715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035638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4EDED10F-EB46-4A60-8151-403D22E744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605516"/>
            <a:ext cx="7886700" cy="45714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Picture 2" descr="Anna Freud Centre - Caring for young minds">
            <a:extLst>
              <a:ext uri="{FF2B5EF4-FFF2-40B4-BE49-F238E27FC236}">
                <a16:creationId xmlns:a16="http://schemas.microsoft.com/office/drawing/2014/main" xmlns="" id="{ADD9E828-DD1D-48A5-A420-9148D35EEA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25842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AD31D1A-0564-4309-8EBC-7F3AC706A0C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612" y="6170411"/>
            <a:ext cx="1245592" cy="619318"/>
          </a:xfrm>
          <a:prstGeom prst="rect">
            <a:avLst/>
          </a:prstGeom>
        </p:spPr>
      </p:pic>
      <p:pic>
        <p:nvPicPr>
          <p:cNvPr id="12" name="Picture 11" descr="\\annafreud2.local\dfs\MyDocuments\ilee\My Documents\My Pictures\Work images\tavistock logo.gif">
            <a:extLst>
              <a:ext uri="{FF2B5EF4-FFF2-40B4-BE49-F238E27FC236}">
                <a16:creationId xmlns:a16="http://schemas.microsoft.com/office/drawing/2014/main" xmlns="" id="{908336C5-FF86-4869-8E9B-590250374D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14" y="6351088"/>
            <a:ext cx="2331622" cy="291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\\annafreud2.local\dfs\MyDocuments\ilee\My Documents\My Pictures\Work images\uclp logo.png">
            <a:extLst>
              <a:ext uri="{FF2B5EF4-FFF2-40B4-BE49-F238E27FC236}">
                <a16:creationId xmlns:a16="http://schemas.microsoft.com/office/drawing/2014/main" xmlns="" id="{B3405418-9F0D-4574-8B01-DD82A213D4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880" y="6235056"/>
            <a:ext cx="1392167" cy="5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2461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888" r:id="rId9"/>
    <p:sldLayoutId id="2147483889" r:id="rId10"/>
    <p:sldLayoutId id="2147483751" r:id="rId11"/>
    <p:sldLayoutId id="2147483752" r:id="rId12"/>
    <p:sldLayoutId id="2147483753" r:id="rId13"/>
    <p:sldLayoutId id="2147483754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rgbClr val="7030A0"/>
          </a:solidFill>
          <a:latin typeface="+mn-lt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A4D620"/>
        </a:buClr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spcBef>
          <a:spcPct val="20000"/>
        </a:spcBef>
        <a:buClr>
          <a:srgbClr val="A4D62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spcBef>
          <a:spcPct val="20000"/>
        </a:spcBef>
        <a:buClr>
          <a:srgbClr val="A4D62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spcBef>
          <a:spcPct val="20000"/>
        </a:spcBef>
        <a:buClr>
          <a:srgbClr val="A4D62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spcBef>
          <a:spcPct val="20000"/>
        </a:spcBef>
        <a:buClr>
          <a:srgbClr val="A4D62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4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837" y="6360507"/>
            <a:ext cx="1984268" cy="32087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5">
            <a:alphaModFix amt="40000"/>
          </a:blip>
          <a:stretch>
            <a:fillRect/>
          </a:stretch>
        </p:blipFill>
        <p:spPr>
          <a:xfrm>
            <a:off x="7527637" y="6240514"/>
            <a:ext cx="1181046" cy="424302"/>
          </a:xfrm>
          <a:prstGeom prst="rect">
            <a:avLst/>
          </a:prstGeom>
        </p:spPr>
      </p:pic>
      <p:pic>
        <p:nvPicPr>
          <p:cNvPr id="1026" name="Picture 2" descr="Anna Freud Centre - Caring for young minds"/>
          <p:cNvPicPr>
            <a:picLocks noChangeAspect="1" noChangeArrowheads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13" y="627010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7582" y="6170411"/>
            <a:ext cx="1245592" cy="619318"/>
          </a:xfrm>
          <a:prstGeom prst="rect">
            <a:avLst/>
          </a:prstGeom>
        </p:spPr>
      </p:pic>
      <p:pic>
        <p:nvPicPr>
          <p:cNvPr id="2050" name="Picture 2" descr="\\annafreud2.local\dfs\MyDocuments\ilee\My Documents\My Pictures\Work images\i-Thrive branding concept 2.jpg"/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5044" y="166257"/>
            <a:ext cx="721167" cy="712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713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6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93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3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  <a:sym typeface="Arial"/>
                <a:rtl val="0"/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sym typeface="Arial"/>
              <a:rtl val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5689" y="56265"/>
            <a:ext cx="636780" cy="629144"/>
          </a:xfrm>
          <a:prstGeom prst="rect">
            <a:avLst/>
          </a:prstGeom>
        </p:spPr>
      </p:pic>
      <p:pic>
        <p:nvPicPr>
          <p:cNvPr id="1026" name="Picture 2" descr="Anna Freud Centre - Caring for young minds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10" y="627010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608" y="6162931"/>
            <a:ext cx="1245592" cy="61931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874" y="6366707"/>
            <a:ext cx="2539523" cy="3174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2263" y="6244428"/>
            <a:ext cx="1311816" cy="471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897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mplementingthrive.org/implemented/toolkit/toolkit-phase-1/stakeholder-engagement/7-minute-briefings/" TargetMode="Externa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hyperlink" Target="https://www.youtube.com/watch?v=W9kVd-OKMzs" TargetMode="Externa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266CDEB-52B2-4996-85C1-111B603B49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961062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en-GB" dirty="0"/>
              <a:t>Developing local definitions for the THRIVE Framework needs based groupings</a:t>
            </a:r>
          </a:p>
        </p:txBody>
      </p:sp>
    </p:spTree>
    <p:extLst>
      <p:ext uri="{BB962C8B-B14F-4D97-AF65-F5344CB8AC3E}">
        <p14:creationId xmlns:p14="http://schemas.microsoft.com/office/powerpoint/2010/main" val="2412858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0831" y="548485"/>
            <a:ext cx="6842125" cy="576263"/>
          </a:xfrm>
        </p:spPr>
        <p:txBody>
          <a:bodyPr/>
          <a:lstStyle/>
          <a:p>
            <a:r>
              <a:rPr lang="en-US" dirty="0"/>
              <a:t>W</a:t>
            </a:r>
            <a:r>
              <a:rPr lang="en-GB" dirty="0" err="1"/>
              <a:t>orkshop</a:t>
            </a:r>
            <a:r>
              <a:rPr lang="en-GB" dirty="0"/>
              <a:t> purpos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0831" y="1336675"/>
            <a:ext cx="8642350" cy="4535488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en-US" dirty="0"/>
              <a:t>This workshop has been developed to support local understanding and ownership of the five THRIVE Framework needs based groupings. </a:t>
            </a:r>
          </a:p>
          <a:p>
            <a:pPr algn="just"/>
            <a:r>
              <a:rPr lang="en-US" dirty="0"/>
              <a:t>The workshop is best suited to a cross sector event that includes representation from health, education, social care and the voluntary sector, with attendees seated around 5 tables.</a:t>
            </a:r>
          </a:p>
          <a:p>
            <a:pPr algn="just"/>
            <a:r>
              <a:rPr lang="en-US" dirty="0"/>
              <a:t>Once the workshop has been completed you will have developed local cross sector definitions for each of the needs based groupings that will support a whole system shared language and the local implementation of the THRIVE Framework.</a:t>
            </a:r>
          </a:p>
          <a:p>
            <a:pPr algn="just"/>
            <a:endParaRPr lang="en-US" dirty="0"/>
          </a:p>
          <a:p>
            <a:pPr marL="0" indent="0" algn="just">
              <a:buNone/>
            </a:pPr>
            <a:r>
              <a:rPr lang="en-US" dirty="0"/>
              <a:t>Resources</a:t>
            </a:r>
          </a:p>
          <a:p>
            <a:pPr algn="just"/>
            <a:r>
              <a:rPr lang="en-US" dirty="0"/>
              <a:t>Laptop, projector and speakers</a:t>
            </a:r>
            <a:endParaRPr lang="en-GB" dirty="0"/>
          </a:p>
          <a:p>
            <a:pPr algn="just"/>
            <a:r>
              <a:rPr lang="en-US" dirty="0"/>
              <a:t>5 pages of flipchart paper – one for each of the THRIVE Framework needs based groupings</a:t>
            </a:r>
          </a:p>
          <a:p>
            <a:pPr algn="just"/>
            <a:r>
              <a:rPr lang="en-US" dirty="0"/>
              <a:t>Flipchart pens</a:t>
            </a:r>
          </a:p>
          <a:p>
            <a:pPr algn="just"/>
            <a:r>
              <a:rPr lang="en-US" dirty="0">
                <a:hlinkClick r:id="rId2"/>
              </a:rPr>
              <a:t>7 minute briefings</a:t>
            </a:r>
            <a:endParaRPr lang="en-US" dirty="0"/>
          </a:p>
          <a:p>
            <a:pPr algn="just"/>
            <a:r>
              <a:rPr lang="en-US" dirty="0"/>
              <a:t>Spare flipchart paper</a:t>
            </a:r>
          </a:p>
          <a:p>
            <a:pPr lvl="1"/>
            <a:endParaRPr lang="en-GB" sz="2000" dirty="0"/>
          </a:p>
          <a:p>
            <a:pPr marL="457200" lvl="1" indent="0">
              <a:buNone/>
            </a:pPr>
            <a:endParaRPr lang="en-GB" sz="2000" dirty="0"/>
          </a:p>
          <a:p>
            <a:pPr marL="0" indent="0">
              <a:buNone/>
            </a:pP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D8D7730-F9E7-431F-99C0-B2864E08DC1F}"/>
              </a:ext>
            </a:extLst>
          </p:cNvPr>
          <p:cNvGrpSpPr/>
          <p:nvPr/>
        </p:nvGrpSpPr>
        <p:grpSpPr>
          <a:xfrm>
            <a:off x="3460438" y="4688523"/>
            <a:ext cx="4916809" cy="1183640"/>
            <a:chOff x="2858146" y="4926965"/>
            <a:chExt cx="4916809" cy="1183640"/>
          </a:xfrm>
        </p:grpSpPr>
        <p:sp>
          <p:nvSpPr>
            <p:cNvPr id="4" name="Text Box 2">
              <a:extLst>
                <a:ext uri="{FF2B5EF4-FFF2-40B4-BE49-F238E27FC236}">
                  <a16:creationId xmlns:a16="http://schemas.microsoft.com/office/drawing/2014/main" xmlns="" id="{ECA0500B-02C5-467C-8290-FDA32B3479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8146" y="4932045"/>
              <a:ext cx="848360" cy="11785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b="1" dirty="0">
                  <a:solidFill>
                    <a:srgbClr val="2E75B6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Getting Help </a:t>
              </a:r>
              <a:endParaRPr lang="en-GB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" name="Text Box 2">
              <a:extLst>
                <a:ext uri="{FF2B5EF4-FFF2-40B4-BE49-F238E27FC236}">
                  <a16:creationId xmlns:a16="http://schemas.microsoft.com/office/drawing/2014/main" xmlns="" id="{F9768FFD-E281-4674-8C77-C8E298FEC1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75414" y="4932045"/>
              <a:ext cx="848360" cy="11785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000" b="1" dirty="0">
                  <a:solidFill>
                    <a:srgbClr val="E8E303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hriving</a:t>
              </a:r>
              <a:endParaRPr lang="en-GB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Text Box 2">
              <a:extLst>
                <a:ext uri="{FF2B5EF4-FFF2-40B4-BE49-F238E27FC236}">
                  <a16:creationId xmlns:a16="http://schemas.microsoft.com/office/drawing/2014/main" xmlns="" id="{928B6BD0-BCF1-4A4C-B539-F7EE63D1F4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92683" y="4932045"/>
              <a:ext cx="848360" cy="11785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000" b="1" dirty="0">
                  <a:solidFill>
                    <a:srgbClr val="ED7D3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Getting Risk Support</a:t>
              </a:r>
              <a:endParaRPr lang="en-GB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Text Box 2">
              <a:extLst>
                <a:ext uri="{FF2B5EF4-FFF2-40B4-BE49-F238E27FC236}">
                  <a16:creationId xmlns:a16="http://schemas.microsoft.com/office/drawing/2014/main" xmlns="" id="{2BDB5CE3-A547-414D-BA1F-1144A63D77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09952" y="4932045"/>
              <a:ext cx="848360" cy="11785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100" b="1" dirty="0">
                  <a:solidFill>
                    <a:srgbClr val="7030A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Getting More Help</a:t>
              </a:r>
              <a:endParaRPr lang="en-GB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Text Box 2">
              <a:extLst>
                <a:ext uri="{FF2B5EF4-FFF2-40B4-BE49-F238E27FC236}">
                  <a16:creationId xmlns:a16="http://schemas.microsoft.com/office/drawing/2014/main" xmlns="" id="{C91303AB-4994-4160-B9D4-A308C0DE20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26595" y="4926965"/>
              <a:ext cx="848360" cy="11785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n-US" sz="1000" b="1" dirty="0">
                  <a:solidFill>
                    <a:srgbClr val="70AD47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Getting Advice and Signposting</a:t>
              </a:r>
              <a:endParaRPr lang="en-GB" sz="11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08702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08E2B53-784D-4BB6-83FF-081C12E758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0831" y="547691"/>
            <a:ext cx="6842125" cy="576263"/>
          </a:xfrm>
        </p:spPr>
        <p:txBody>
          <a:bodyPr/>
          <a:lstStyle/>
          <a:p>
            <a:r>
              <a:rPr lang="en-GB" dirty="0"/>
              <a:t>Local definitions of needs based groupings</a:t>
            </a:r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E9ACA7E-83E7-41FA-8618-FD87F77DCF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0825" y="1298575"/>
            <a:ext cx="8642350" cy="4535488"/>
          </a:xfrm>
        </p:spPr>
        <p:txBody>
          <a:bodyPr/>
          <a:lstStyle/>
          <a:p>
            <a:r>
              <a:rPr lang="en-GB" dirty="0"/>
              <a:t>Key learning from the National </a:t>
            </a:r>
            <a:r>
              <a:rPr lang="en-GB" dirty="0" err="1"/>
              <a:t>i</a:t>
            </a:r>
            <a:r>
              <a:rPr lang="en-GB" dirty="0"/>
              <a:t>-THRIVE Programme: </a:t>
            </a:r>
          </a:p>
          <a:p>
            <a:pPr lvl="1"/>
            <a:r>
              <a:rPr lang="en-GB" sz="2000" dirty="0"/>
              <a:t>The importance of the need for local ownership of definitions for each of the needs based groupings </a:t>
            </a:r>
          </a:p>
          <a:p>
            <a:r>
              <a:rPr lang="en-GB" dirty="0"/>
              <a:t>How would you explain the different needs based groupings so that it is understandable for children, young people, parents/carers, and the cross sector children’s workforce?</a:t>
            </a:r>
          </a:p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034519A-2F29-4B42-B152-17023A309A9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927" y="3695700"/>
            <a:ext cx="1290146" cy="213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8935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0831" y="590558"/>
            <a:ext cx="6842125" cy="576263"/>
          </a:xfrm>
        </p:spPr>
        <p:txBody>
          <a:bodyPr/>
          <a:lstStyle/>
          <a:p>
            <a:r>
              <a:rPr lang="en-GB" dirty="0"/>
              <a:t>Group Workshop 1 </a:t>
            </a:r>
            <a:r>
              <a:rPr lang="en-GB" sz="1800" dirty="0"/>
              <a:t>(35 mins)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0831" y="1304942"/>
            <a:ext cx="8642350" cy="4535488"/>
          </a:xfrm>
        </p:spPr>
        <p:txBody>
          <a:bodyPr/>
          <a:lstStyle/>
          <a:p>
            <a:r>
              <a:rPr lang="en-GB" dirty="0"/>
              <a:t>With your cross sector table spend 7 minutes per grouping to develop an explanation/statement that is understandable for children, young people, parents/carers, and the cross sector children’s workforce. </a:t>
            </a:r>
          </a:p>
          <a:p>
            <a:pPr lvl="1"/>
            <a:r>
              <a:rPr lang="en-GB" dirty="0"/>
              <a:t>Use the relevant 7 minute briefing to support your discussion</a:t>
            </a:r>
          </a:p>
          <a:p>
            <a:pPr lvl="1"/>
            <a:r>
              <a:rPr lang="en-GB" dirty="0"/>
              <a:t>The first definition is the hardest but it does get easier </a:t>
            </a:r>
          </a:p>
          <a:p>
            <a:pPr lvl="1"/>
            <a:r>
              <a:rPr lang="en-GB" dirty="0"/>
              <a:t>A common language that can be understood by all is key</a:t>
            </a:r>
          </a:p>
          <a:p>
            <a:r>
              <a:rPr lang="en-US" dirty="0" smtClean="0"/>
              <a:t>Once </a:t>
            </a:r>
            <a:r>
              <a:rPr lang="en-US" dirty="0"/>
              <a:t>the 7 minutes is up pass your needs based grouping clockwise for the next table to complete and start the timer again. Repeat until all tables have completed a definition for each of the needs based groupings</a:t>
            </a:r>
            <a:r>
              <a:rPr lang="en-US" dirty="0" smtClean="0"/>
              <a:t>.</a:t>
            </a:r>
          </a:p>
          <a:p>
            <a:r>
              <a:rPr lang="en-US" dirty="0">
                <a:hlinkClick r:id="rId2"/>
              </a:rPr>
              <a:t>Here is link to a helpful timer.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8" t="6807" r="17358" b="7533"/>
          <a:stretch/>
        </p:blipFill>
        <p:spPr>
          <a:xfrm>
            <a:off x="3863975" y="4600021"/>
            <a:ext cx="1416050" cy="166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4647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E358AA19-CAEC-4096-89C5-802B46FA7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1099" y="1643686"/>
            <a:ext cx="6781799" cy="1470025"/>
          </a:xfrm>
        </p:spPr>
        <p:txBody>
          <a:bodyPr>
            <a:normAutofit/>
          </a:bodyPr>
          <a:lstStyle/>
          <a:p>
            <a:r>
              <a:rPr lang="en-US" dirty="0"/>
              <a:t>Tea, Coffee and Networking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4163D02-8DA7-43C4-B10A-1DF04EF6D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4460" y="3113711"/>
            <a:ext cx="1515079" cy="151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8288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0831" y="396459"/>
            <a:ext cx="7292969" cy="844546"/>
          </a:xfrm>
        </p:spPr>
        <p:txBody>
          <a:bodyPr>
            <a:normAutofit fontScale="85000" lnSpcReduction="20000"/>
          </a:bodyPr>
          <a:lstStyle/>
          <a:p>
            <a:r>
              <a:rPr lang="en-GB" sz="3000" dirty="0"/>
              <a:t>Review and finalise each local definition: </a:t>
            </a:r>
          </a:p>
          <a:p>
            <a:r>
              <a:rPr lang="en-GB" sz="3000" dirty="0"/>
              <a:t>Group Workshop 2 </a:t>
            </a:r>
            <a:r>
              <a:rPr lang="en-GB" sz="2100" dirty="0"/>
              <a:t>(15 mins) </a:t>
            </a:r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0831" y="1339629"/>
            <a:ext cx="8642350" cy="4535488"/>
          </a:xfrm>
        </p:spPr>
        <p:txBody>
          <a:bodyPr/>
          <a:lstStyle/>
          <a:p>
            <a:r>
              <a:rPr lang="en-US" dirty="0"/>
              <a:t>With your table spend 7 minutes </a:t>
            </a:r>
            <a:r>
              <a:rPr lang="en-US" dirty="0" err="1"/>
              <a:t>summarising</a:t>
            </a:r>
            <a:r>
              <a:rPr lang="en-US" dirty="0"/>
              <a:t> all of the explanations/statements of the last needs based grouping you worked on.</a:t>
            </a:r>
            <a:endParaRPr lang="en-GB" dirty="0"/>
          </a:p>
          <a:p>
            <a:r>
              <a:rPr lang="en-US" dirty="0"/>
              <a:t>In turn, feedback your summary definition to the room.</a:t>
            </a:r>
            <a:endParaRPr lang="en-GB" dirty="0"/>
          </a:p>
          <a:p>
            <a:endParaRPr lang="en-GB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9CF385E-E9A5-42FC-AA2C-4BC8977165FC}"/>
              </a:ext>
            </a:extLst>
          </p:cNvPr>
          <p:cNvGrpSpPr/>
          <p:nvPr/>
        </p:nvGrpSpPr>
        <p:grpSpPr>
          <a:xfrm>
            <a:off x="377831" y="2463800"/>
            <a:ext cx="8642338" cy="3733282"/>
            <a:chOff x="250825" y="1673883"/>
            <a:chExt cx="8642356" cy="409016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52A903D4-A8ED-4ECB-8EC2-DCFC11E2B080}"/>
                </a:ext>
              </a:extLst>
            </p:cNvPr>
            <p:cNvSpPr txBox="1"/>
            <p:nvPr/>
          </p:nvSpPr>
          <p:spPr>
            <a:xfrm>
              <a:off x="250825" y="1673883"/>
              <a:ext cx="8642350" cy="646331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/>
                <a:t>Thriving:</a:t>
              </a:r>
            </a:p>
            <a:p>
              <a:endParaRPr lang="en-GB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C5F71A2B-B99D-4748-8657-DCD5CD387B47}"/>
                </a:ext>
              </a:extLst>
            </p:cNvPr>
            <p:cNvSpPr txBox="1"/>
            <p:nvPr/>
          </p:nvSpPr>
          <p:spPr>
            <a:xfrm>
              <a:off x="250831" y="2533919"/>
              <a:ext cx="8642350" cy="646331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/>
                <a:t>Getting Risk Support:</a:t>
              </a:r>
            </a:p>
            <a:p>
              <a:endParaRPr lang="en-GB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64D4CB2B-E91B-4AC3-BA2C-62F105776293}"/>
                </a:ext>
              </a:extLst>
            </p:cNvPr>
            <p:cNvSpPr txBox="1"/>
            <p:nvPr/>
          </p:nvSpPr>
          <p:spPr>
            <a:xfrm>
              <a:off x="250831" y="3394599"/>
              <a:ext cx="8642350" cy="646331"/>
            </a:xfrm>
            <a:prstGeom prst="rect">
              <a:avLst/>
            </a:prstGeom>
            <a:solidFill>
              <a:srgbClr val="15759B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Getting Help:</a:t>
              </a:r>
            </a:p>
            <a:p>
              <a:endParaRPr lang="en-GB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D667403F-1410-45CE-A450-12B5155E1496}"/>
                </a:ext>
              </a:extLst>
            </p:cNvPr>
            <p:cNvSpPr txBox="1"/>
            <p:nvPr/>
          </p:nvSpPr>
          <p:spPr>
            <a:xfrm>
              <a:off x="250831" y="4257035"/>
              <a:ext cx="8642350" cy="646331"/>
            </a:xfrm>
            <a:prstGeom prst="rect">
              <a:avLst/>
            </a:prstGeom>
            <a:solidFill>
              <a:srgbClr val="8F4DA9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Getting More Help:</a:t>
              </a:r>
            </a:p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AC7348F5-39F6-4D1A-B21F-B21515A58FAF}"/>
                </a:ext>
              </a:extLst>
            </p:cNvPr>
            <p:cNvSpPr txBox="1"/>
            <p:nvPr/>
          </p:nvSpPr>
          <p:spPr>
            <a:xfrm>
              <a:off x="250831" y="5117715"/>
              <a:ext cx="8642344" cy="646331"/>
            </a:xfrm>
            <a:prstGeom prst="rect">
              <a:avLst/>
            </a:prstGeom>
            <a:solidFill>
              <a:srgbClr val="038B06"/>
            </a:solidFill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Getting Advice and Signposting:</a:t>
              </a: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223350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41DC857-153F-40A4-983F-7F9D1A738C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0831" y="548485"/>
            <a:ext cx="6842125" cy="576263"/>
          </a:xfrm>
        </p:spPr>
        <p:txBody>
          <a:bodyPr/>
          <a:lstStyle/>
          <a:p>
            <a:r>
              <a:rPr lang="en-US" dirty="0"/>
              <a:t>Next Step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EA8A97E-7187-4198-B517-70B56399DA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0825" y="1387475"/>
            <a:ext cx="8642350" cy="4535488"/>
          </a:xfrm>
        </p:spPr>
        <p:txBody>
          <a:bodyPr/>
          <a:lstStyle/>
          <a:p>
            <a:r>
              <a:rPr lang="en-US" dirty="0"/>
              <a:t>Consult with children, young people, parents and </a:t>
            </a:r>
            <a:r>
              <a:rPr lang="en-US" dirty="0" err="1"/>
              <a:t>carers</a:t>
            </a:r>
            <a:r>
              <a:rPr lang="en-US" dirty="0"/>
              <a:t> about the local definitions of the THRIVE needs based groupings produced through this workshop.</a:t>
            </a:r>
          </a:p>
          <a:p>
            <a:r>
              <a:rPr lang="en-US" dirty="0"/>
              <a:t>Refine the local definitions accordingly and share with the children’s workforce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368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heme/theme1.xml><?xml version="1.0" encoding="utf-8"?>
<a:theme xmlns:a="http://schemas.openxmlformats.org/drawingml/2006/main" name="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D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UCLPartners opening slides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UCLPartners closing slide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4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59784</TotalTime>
  <Words>433</Words>
  <Application>Microsoft Office PowerPoint</Application>
  <PresentationFormat>On-screen Show (4:3)</PresentationFormat>
  <Paragraphs>42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Slide Titles</vt:lpstr>
      </vt:variant>
      <vt:variant>
        <vt:i4>7</vt:i4>
      </vt:variant>
    </vt:vector>
  </HeadingPairs>
  <TitlesOfParts>
    <vt:vector size="23" baseType="lpstr">
      <vt:lpstr>Arial</vt:lpstr>
      <vt:lpstr>Calibri</vt:lpstr>
      <vt:lpstr>Calibri Light</vt:lpstr>
      <vt:lpstr>Courier New</vt:lpstr>
      <vt:lpstr>Times New Roman</vt:lpstr>
      <vt:lpstr>Verdana</vt:lpstr>
      <vt:lpstr>PHE Newham resilience Mar 2014</vt:lpstr>
      <vt:lpstr>SDM</vt:lpstr>
      <vt:lpstr>1_PHE Newham resilience Mar 2014</vt:lpstr>
      <vt:lpstr>UCLPartners opening slides</vt:lpstr>
      <vt:lpstr>UCLPartners closing slide</vt:lpstr>
      <vt:lpstr>2_PHE Newham resilience Mar 2014</vt:lpstr>
      <vt:lpstr>3_PHE Newham resilience Mar 2014</vt:lpstr>
      <vt:lpstr>4_PHE Newham resilience Mar 2014</vt:lpstr>
      <vt:lpstr>5_PHE Newham resilience Mar 2014</vt:lpstr>
      <vt:lpstr>Office Theme</vt:lpstr>
      <vt:lpstr>Developing local definitions for the THRIVE Framework needs based groupings</vt:lpstr>
      <vt:lpstr>PowerPoint Presentation</vt:lpstr>
      <vt:lpstr>PowerPoint Presentation</vt:lpstr>
      <vt:lpstr>PowerPoint Presentation</vt:lpstr>
      <vt:lpstr>Tea, Coffee and Networking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Moore</dc:creator>
  <cp:lastModifiedBy>Bethan Morris</cp:lastModifiedBy>
  <cp:revision>1854</cp:revision>
  <cp:lastPrinted>2015-07-22T16:33:04Z</cp:lastPrinted>
  <dcterms:created xsi:type="dcterms:W3CDTF">2015-07-09T07:15:21Z</dcterms:created>
  <dcterms:modified xsi:type="dcterms:W3CDTF">2019-04-25T12:59:51Z</dcterms:modified>
</cp:coreProperties>
</file>